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6"/>
  </p:notesMasterIdLst>
  <p:sldIdLst>
    <p:sldId id="311" r:id="rId3"/>
    <p:sldId id="309" r:id="rId4"/>
    <p:sldId id="278" r:id="rId5"/>
    <p:sldId id="275" r:id="rId6"/>
    <p:sldId id="313" r:id="rId7"/>
    <p:sldId id="310" r:id="rId8"/>
    <p:sldId id="276" r:id="rId9"/>
    <p:sldId id="290" r:id="rId10"/>
    <p:sldId id="315" r:id="rId11"/>
    <p:sldId id="305" r:id="rId12"/>
    <p:sldId id="314" r:id="rId13"/>
    <p:sldId id="288" r:id="rId14"/>
    <p:sldId id="312" r:id="rId15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DFDF"/>
    <a:srgbClr val="D9E3BC"/>
    <a:srgbClr val="E9EED6"/>
    <a:srgbClr val="E7DCAE"/>
    <a:srgbClr val="FFFFCC"/>
    <a:srgbClr val="00FFFF"/>
    <a:srgbClr val="FF7C80"/>
    <a:srgbClr val="A50021"/>
    <a:srgbClr val="FF3300"/>
    <a:srgbClr val="E6D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38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D7E-4F5F-BE10-70CAD9A529D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D7E-4F5F-BE10-70CAD9A529D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D7E-4F5F-BE10-70CAD9A529D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D7E-4F5F-BE10-70CAD9A529D2}"/>
              </c:ext>
            </c:extLst>
          </c:dPt>
          <c:cat>
            <c:strRef>
              <c:f>Sheet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D-435E-98AB-C33B4F84A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ADAD8-A299-4F81-9681-841D3765C802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2756F-AF8A-4DAA-AA38-9DF4740DEA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816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94547-B751-47D3-BE12-6646377B9839}" type="slidenum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709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C920E0-9C34-4283-B8EA-3F9565A17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9701C47-7CBA-4512-AAD9-5FD3ADC4B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5F75EEF-DDE2-40D6-953F-27EDC78E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297AF4-8355-4F26-B668-DE1BEFA0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4D8B2C-E155-4D17-ADB9-74D48474A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194C85-B3F3-40E4-A561-D827E54F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EE8FDC9-5CE6-4618-A9DB-FF7D3D7F5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2096D6-71C3-4DC9-9E97-43D3EA44F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4DABD6-F6C6-4754-9337-9ECB7AB2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6E43781-8398-4ED5-849B-1BE59C6AA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73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6282175-AF37-4DDC-BD92-CC40B3531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C8B7583-185C-472C-93B4-8AF3A04BE2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9FC4549-3C1E-478D-9079-C3CE58398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7D6E0-126C-47F2-9AEB-FEE1B3918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A31D2E-67BB-43C2-9B90-B733102CB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2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20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14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8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81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360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715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9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48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F0D1DB-6051-4845-9D11-5CB3A605E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7EA347-C6AA-4C89-9452-3DFE3F9FD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3C57A-1A6D-4BB4-AA82-23149EC08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77F9B3-925D-4068-B044-A2D64DE9F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B27EA1-FD1A-4FD7-B7AC-EBE02773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950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80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6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8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C431A-1B76-4CCF-A6F6-01572379F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D0B269F-47F3-4B10-8F9F-F61208EA9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764BD8-A821-443B-A902-06E054F00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C9B7A2C-601A-45F5-AA2C-32387E07E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05BD0-F073-4757-B44C-61D27EE87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548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233DDF-BE99-4A25-ADA8-F4A63B93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3A09F5-91E6-4050-80F4-7D8C36572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9D9E8CF-561C-4D81-B8D8-FC0C0F1267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A2F55A-C150-41A2-B5B9-C85F222EC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8FEE5B-92DA-4CC7-BBE4-A9A718E81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4F9AAE-387B-4C87-B5F7-90FC379F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A61018-9C3C-44F5-AA42-36C7A17DB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17C6EB7-3B7C-48CD-B0FF-71EC29E0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E5418D-64FF-47DC-BBE1-3319FB25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04D7378-4CB1-47DD-BF34-D0B3916834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9EDD54C-E857-40C2-B99E-819A006028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8CA238C-A1DD-487B-8D42-EFE3DAE54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86FED72-2A99-45AE-9935-564B75674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5485435-314B-4491-A881-3E82B9407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814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F1B776-9C23-46E0-8395-494F1D45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4DEDE8-5E00-42E0-897C-EBF6AD685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B5402E-B247-4626-AF26-031A16289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150A918-98DE-41EE-92A3-E780602A3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97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02CB8-95AF-4B32-A7AE-2D6B4277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F130D2-C692-4E1E-99E2-A59443B6D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25C49-6657-41EA-8089-C59F42306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78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BD6DE1-0601-4EC4-80B9-B31AC157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5174457-6AE9-4EF8-863D-0559488C13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238A40F-94F0-4AF9-A906-4BAF73CCD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84869E-E5FB-4BC6-A757-082A33593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6E7024-4505-428F-8F4F-FDED01E3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2F56E1-2890-4A70-870C-1E3EE622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45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922F6C-578F-4C30-A421-000D2BAA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B086663-4725-4AD0-9305-A19D9C09F3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68B0BEB-7742-4E42-BF5A-B8B319135B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78BBA8-C44E-4793-9E03-91B916ABE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2BCB610-0628-4A99-AB48-5D93E0FC9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23B773-8D42-4E68-913E-1084F33FF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41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550187A-A967-4731-B2E6-8A5B8B4B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9ACCE1F-6D61-4AD1-AD58-E179502CF3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83E56F-76B6-4F5C-9B86-60B1E033A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BC31-D3E4-443C-8A9F-52A183C90DBE}" type="datetimeFigureOut">
              <a:rPr lang="zh-CN" altLang="en-US" smtClean="0"/>
              <a:t>2018/11/12/Mon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551167-47E9-4191-8B35-F18538FC3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E95A29-9905-46B2-B873-5A178AD17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E0810-770A-42B2-965C-892D786BC0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64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2C2D5-F6BA-4AF7-9F24-8056E98ECACA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11/12/Mon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90ECF2-1C7C-4516-B186-97A70F9BDD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1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4E154123-DEBA-47B9-9722-AD3161CFD623}"/>
              </a:ext>
            </a:extLst>
          </p:cNvPr>
          <p:cNvSpPr/>
          <p:nvPr/>
        </p:nvSpPr>
        <p:spPr>
          <a:xfrm>
            <a:off x="1276240" y="2632163"/>
            <a:ext cx="10126983" cy="118892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69000">
                <a:schemeClr val="tx1">
                  <a:lumMod val="85000"/>
                  <a:lumOff val="15000"/>
                  <a:alpha val="59000"/>
                </a:schemeClr>
              </a:gs>
              <a:gs pos="27000">
                <a:schemeClr val="tx1">
                  <a:lumMod val="85000"/>
                  <a:lumOff val="15000"/>
                  <a:alpha val="59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5193BB7-1C61-488D-BD42-2894373D0663}"/>
              </a:ext>
            </a:extLst>
          </p:cNvPr>
          <p:cNvSpPr txBox="1"/>
          <p:nvPr/>
        </p:nvSpPr>
        <p:spPr>
          <a:xfrm>
            <a:off x="4830774" y="3187817"/>
            <a:ext cx="5281475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200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集合关系</a:t>
            </a:r>
            <a:r>
              <a:rPr lang="en-US" altLang="zh-CN" sz="3200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-</a:t>
            </a:r>
            <a:r>
              <a:rPr lang="zh-CN" altLang="en-US" sz="3200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韦恩图</a:t>
            </a:r>
            <a:endParaRPr lang="en-US" altLang="zh-CN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B2603DE-E4D6-452E-B1E9-F732BA442742}"/>
              </a:ext>
            </a:extLst>
          </p:cNvPr>
          <p:cNvSpPr/>
          <p:nvPr/>
        </p:nvSpPr>
        <p:spPr>
          <a:xfrm>
            <a:off x="4830774" y="2632163"/>
            <a:ext cx="954107" cy="506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rPr>
              <a:t>图表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+mn-cs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E96C171-EEBE-4E8F-BABA-0E1C16B8C1A4}"/>
              </a:ext>
            </a:extLst>
          </p:cNvPr>
          <p:cNvCxnSpPr>
            <a:cxnSpLocks/>
          </p:cNvCxnSpPr>
          <p:nvPr/>
        </p:nvCxnSpPr>
        <p:spPr>
          <a:xfrm>
            <a:off x="4830774" y="2757008"/>
            <a:ext cx="0" cy="956032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1D4B2-AE9A-4AD5-9A83-7870F4DAF8E1}"/>
              </a:ext>
            </a:extLst>
          </p:cNvPr>
          <p:cNvCxnSpPr>
            <a:cxnSpLocks/>
          </p:cNvCxnSpPr>
          <p:nvPr/>
        </p:nvCxnSpPr>
        <p:spPr>
          <a:xfrm>
            <a:off x="4830774" y="3147119"/>
            <a:ext cx="3450367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550E3886-A09D-4C5C-9D4E-6BF42C230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6475" y="2877490"/>
            <a:ext cx="1053102" cy="732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680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7E1E155-52C6-46BE-BC18-ACC131833C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930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非集合关系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1ACE6E04-8A27-4317-A737-0797A0D5A50A}"/>
              </a:ext>
            </a:extLst>
          </p:cNvPr>
          <p:cNvGrpSpPr/>
          <p:nvPr/>
        </p:nvGrpSpPr>
        <p:grpSpPr>
          <a:xfrm rot="16200000">
            <a:off x="5521845" y="862540"/>
            <a:ext cx="5502521" cy="5502523"/>
            <a:chOff x="6342063" y="2066925"/>
            <a:chExt cx="3217862" cy="3217863"/>
          </a:xfrm>
        </p:grpSpPr>
        <p:sp>
          <p:nvSpPr>
            <p:cNvPr id="8" name="Oval 12">
              <a:extLst>
                <a:ext uri="{FF2B5EF4-FFF2-40B4-BE49-F238E27FC236}">
                  <a16:creationId xmlns:a16="http://schemas.microsoft.com/office/drawing/2014/main" id="{A7FEA2BD-D3F2-4BA5-894E-D44CAD7B7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2063" y="2066925"/>
              <a:ext cx="3217862" cy="3217863"/>
            </a:xfrm>
            <a:prstGeom prst="ellipse">
              <a:avLst/>
            </a:prstGeom>
            <a:solidFill>
              <a:srgbClr val="AAD82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2E97F92D-B423-460B-ABAB-9FFD22445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950" y="2135188"/>
              <a:ext cx="2374900" cy="3097213"/>
            </a:xfrm>
            <a:custGeom>
              <a:avLst/>
              <a:gdLst>
                <a:gd name="T0" fmla="*/ 316 w 631"/>
                <a:gd name="T1" fmla="*/ 26 h 823"/>
                <a:gd name="T2" fmla="*/ 0 w 631"/>
                <a:gd name="T3" fmla="*/ 410 h 823"/>
                <a:gd name="T4" fmla="*/ 316 w 631"/>
                <a:gd name="T5" fmla="*/ 793 h 823"/>
                <a:gd name="T6" fmla="*/ 631 w 631"/>
                <a:gd name="T7" fmla="*/ 410 h 823"/>
                <a:gd name="T8" fmla="*/ 316 w 631"/>
                <a:gd name="T9" fmla="*/ 26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1" h="823">
                  <a:moveTo>
                    <a:pt x="316" y="26"/>
                  </a:moveTo>
                  <a:cubicBezTo>
                    <a:pt x="136" y="60"/>
                    <a:pt x="0" y="220"/>
                    <a:pt x="0" y="410"/>
                  </a:cubicBezTo>
                  <a:cubicBezTo>
                    <a:pt x="0" y="599"/>
                    <a:pt x="136" y="759"/>
                    <a:pt x="316" y="793"/>
                  </a:cubicBezTo>
                  <a:cubicBezTo>
                    <a:pt x="473" y="823"/>
                    <a:pt x="631" y="599"/>
                    <a:pt x="631" y="410"/>
                  </a:cubicBezTo>
                  <a:cubicBezTo>
                    <a:pt x="631" y="220"/>
                    <a:pt x="454" y="0"/>
                    <a:pt x="316" y="26"/>
                  </a:cubicBezTo>
                  <a:close/>
                </a:path>
              </a:pathLst>
            </a:custGeom>
            <a:solidFill>
              <a:srgbClr val="FAE25E"/>
            </a:solidFill>
            <a:ln>
              <a:noFill/>
            </a:ln>
            <a:effectLst>
              <a:outerShdw blurRad="215900" sx="104000" sy="104000" algn="ctr" rotWithShape="0">
                <a:prstClr val="black">
                  <a:alpha val="32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038A1605-1C0B-400B-84DD-F90E6DB74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5" y="2357438"/>
              <a:ext cx="1636712" cy="2652713"/>
            </a:xfrm>
            <a:custGeom>
              <a:avLst/>
              <a:gdLst>
                <a:gd name="T0" fmla="*/ 217 w 435"/>
                <a:gd name="T1" fmla="*/ 24 h 705"/>
                <a:gd name="T2" fmla="*/ 0 w 435"/>
                <a:gd name="T3" fmla="*/ 351 h 705"/>
                <a:gd name="T4" fmla="*/ 217 w 435"/>
                <a:gd name="T5" fmla="*/ 678 h 705"/>
                <a:gd name="T6" fmla="*/ 435 w 435"/>
                <a:gd name="T7" fmla="*/ 351 h 705"/>
                <a:gd name="T8" fmla="*/ 217 w 435"/>
                <a:gd name="T9" fmla="*/ 24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705">
                  <a:moveTo>
                    <a:pt x="217" y="24"/>
                  </a:moveTo>
                  <a:cubicBezTo>
                    <a:pt x="89" y="75"/>
                    <a:pt x="0" y="204"/>
                    <a:pt x="0" y="351"/>
                  </a:cubicBezTo>
                  <a:cubicBezTo>
                    <a:pt x="0" y="498"/>
                    <a:pt x="88" y="628"/>
                    <a:pt x="217" y="678"/>
                  </a:cubicBezTo>
                  <a:cubicBezTo>
                    <a:pt x="288" y="705"/>
                    <a:pt x="435" y="498"/>
                    <a:pt x="435" y="351"/>
                  </a:cubicBezTo>
                  <a:cubicBezTo>
                    <a:pt x="435" y="204"/>
                    <a:pt x="278" y="0"/>
                    <a:pt x="217" y="24"/>
                  </a:cubicBezTo>
                  <a:close/>
                </a:path>
              </a:pathLst>
            </a:custGeom>
            <a:solidFill>
              <a:srgbClr val="F58344"/>
            </a:solidFill>
            <a:ln>
              <a:noFill/>
            </a:ln>
            <a:effectLst>
              <a:outerShdw blurRad="215900" sx="104000" sy="104000" algn="ctr" rotWithShape="0">
                <a:prstClr val="black">
                  <a:alpha val="32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43502CBC-5EF7-4E6F-95E6-26F02B39D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2616200"/>
              <a:ext cx="838200" cy="2100263"/>
            </a:xfrm>
            <a:custGeom>
              <a:avLst/>
              <a:gdLst>
                <a:gd name="T0" fmla="*/ 0 w 223"/>
                <a:gd name="T1" fmla="*/ 282 h 558"/>
                <a:gd name="T2" fmla="*/ 112 w 223"/>
                <a:gd name="T3" fmla="*/ 523 h 558"/>
                <a:gd name="T4" fmla="*/ 223 w 223"/>
                <a:gd name="T5" fmla="*/ 282 h 558"/>
                <a:gd name="T6" fmla="*/ 112 w 223"/>
                <a:gd name="T7" fmla="*/ 40 h 558"/>
                <a:gd name="T8" fmla="*/ 0 w 223"/>
                <a:gd name="T9" fmla="*/ 28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558">
                  <a:moveTo>
                    <a:pt x="0" y="282"/>
                  </a:moveTo>
                  <a:cubicBezTo>
                    <a:pt x="0" y="378"/>
                    <a:pt x="42" y="467"/>
                    <a:pt x="112" y="523"/>
                  </a:cubicBezTo>
                  <a:cubicBezTo>
                    <a:pt x="155" y="558"/>
                    <a:pt x="223" y="378"/>
                    <a:pt x="223" y="282"/>
                  </a:cubicBezTo>
                  <a:cubicBezTo>
                    <a:pt x="223" y="185"/>
                    <a:pt x="160" y="0"/>
                    <a:pt x="112" y="40"/>
                  </a:cubicBezTo>
                  <a:cubicBezTo>
                    <a:pt x="43" y="98"/>
                    <a:pt x="0" y="185"/>
                    <a:pt x="0" y="282"/>
                  </a:cubicBezTo>
                  <a:close/>
                </a:path>
              </a:pathLst>
            </a:custGeom>
            <a:solidFill>
              <a:srgbClr val="DD3645"/>
            </a:solidFill>
            <a:ln>
              <a:noFill/>
            </a:ln>
            <a:effectLst>
              <a:outerShdw blurRad="215900" sx="104000" sy="104000" algn="ctr" rotWithShape="0">
                <a:prstClr val="black">
                  <a:alpha val="32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FECE58ED-4405-47A4-967B-6CFF0F8A8EA1}"/>
              </a:ext>
            </a:extLst>
          </p:cNvPr>
          <p:cNvSpPr txBox="1"/>
          <p:nvPr/>
        </p:nvSpPr>
        <p:spPr>
          <a:xfrm>
            <a:off x="7439002" y="1390349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</a:rPr>
              <a:t>精神层文化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72DD77F-527E-41F9-A244-FBD4D9BDC926}"/>
              </a:ext>
            </a:extLst>
          </p:cNvPr>
          <p:cNvSpPr txBox="1"/>
          <p:nvPr/>
        </p:nvSpPr>
        <p:spPr>
          <a:xfrm>
            <a:off x="7439002" y="4793209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</a:rPr>
              <a:t>核心价值观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B9672E1-731F-4013-9925-C95118DFD997}"/>
              </a:ext>
            </a:extLst>
          </p:cNvPr>
          <p:cNvSpPr txBox="1"/>
          <p:nvPr/>
        </p:nvSpPr>
        <p:spPr>
          <a:xfrm>
            <a:off x="7900667" y="3674699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</a:rPr>
              <a:t>使命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72391BF-6871-462C-AAD9-AEC514435A44}"/>
              </a:ext>
            </a:extLst>
          </p:cNvPr>
          <p:cNvSpPr txBox="1"/>
          <p:nvPr/>
        </p:nvSpPr>
        <p:spPr>
          <a:xfrm>
            <a:off x="7900667" y="2530486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愿景</a:t>
            </a:r>
          </a:p>
        </p:txBody>
      </p:sp>
    </p:spTree>
    <p:extLst>
      <p:ext uri="{BB962C8B-B14F-4D97-AF65-F5344CB8AC3E}">
        <p14:creationId xmlns:p14="http://schemas.microsoft.com/office/powerpoint/2010/main" val="3269575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EAE4176F-4DA9-4D9B-B07A-8B80FD315041}"/>
              </a:ext>
            </a:extLst>
          </p:cNvPr>
          <p:cNvSpPr/>
          <p:nvPr/>
        </p:nvSpPr>
        <p:spPr>
          <a:xfrm>
            <a:off x="505838" y="466928"/>
            <a:ext cx="2801566" cy="535021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不能表示交集关系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851" y="0"/>
            <a:ext cx="53781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02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5024C55D-976B-47A1-BD6F-9222E7C8F2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268" y="1520003"/>
            <a:ext cx="5375044" cy="4102584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EAE4176F-4DA9-4D9B-B07A-8B80FD315041}"/>
              </a:ext>
            </a:extLst>
          </p:cNvPr>
          <p:cNvSpPr/>
          <p:nvPr/>
        </p:nvSpPr>
        <p:spPr>
          <a:xfrm>
            <a:off x="505838" y="466928"/>
            <a:ext cx="2801566" cy="535021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不完全穷尽</a:t>
            </a:r>
          </a:p>
        </p:txBody>
      </p:sp>
      <p:sp>
        <p:nvSpPr>
          <p:cNvPr id="2" name="椭圆 1"/>
          <p:cNvSpPr/>
          <p:nvPr/>
        </p:nvSpPr>
        <p:spPr>
          <a:xfrm>
            <a:off x="5217952" y="3632433"/>
            <a:ext cx="511729" cy="3103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7731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EAE4176F-4DA9-4D9B-B07A-8B80FD315041}"/>
              </a:ext>
            </a:extLst>
          </p:cNvPr>
          <p:cNvSpPr/>
          <p:nvPr/>
        </p:nvSpPr>
        <p:spPr>
          <a:xfrm>
            <a:off x="505838" y="466928"/>
            <a:ext cx="2801566" cy="535021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没有交集关系</a:t>
            </a:r>
          </a:p>
        </p:txBody>
      </p:sp>
      <p:graphicFrame>
        <p:nvGraphicFramePr>
          <p:cNvPr id="4" name="图表 3">
            <a:extLst>
              <a:ext uri="{FF2B5EF4-FFF2-40B4-BE49-F238E27FC236}">
                <a16:creationId xmlns:a16="http://schemas.microsoft.com/office/drawing/2014/main" id="{EBFBE009-C6C3-4495-9A8F-DB3173442C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98122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9581FAAA-4DDB-4B19-98D1-44622A382A80}"/>
              </a:ext>
            </a:extLst>
          </p:cNvPr>
          <p:cNvSpPr txBox="1"/>
          <p:nvPr/>
        </p:nvSpPr>
        <p:spPr>
          <a:xfrm>
            <a:off x="3931821" y="2681056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购买产品</a:t>
            </a:r>
            <a:r>
              <a:rPr lang="en-US" altLang="zh-CN" dirty="0"/>
              <a:t>A</a:t>
            </a:r>
            <a:r>
              <a:rPr lang="zh-CN" altLang="en-US" dirty="0"/>
              <a:t>的客户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39AD198-4B01-4599-9AF1-D67D50660C43}"/>
              </a:ext>
            </a:extLst>
          </p:cNvPr>
          <p:cNvSpPr txBox="1"/>
          <p:nvPr/>
        </p:nvSpPr>
        <p:spPr>
          <a:xfrm>
            <a:off x="6441585" y="2689933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购买产品</a:t>
            </a:r>
            <a:r>
              <a:rPr lang="en-US" altLang="zh-CN" dirty="0"/>
              <a:t>B</a:t>
            </a:r>
            <a:r>
              <a:rPr lang="zh-CN" altLang="en-US" dirty="0"/>
              <a:t>的客户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E7168A2-E83F-48C6-AB42-6F2180909D5A}"/>
              </a:ext>
            </a:extLst>
          </p:cNvPr>
          <p:cNvSpPr txBox="1"/>
          <p:nvPr/>
        </p:nvSpPr>
        <p:spPr>
          <a:xfrm>
            <a:off x="5352848" y="4642446"/>
            <a:ext cx="1943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购买产品</a:t>
            </a:r>
            <a:r>
              <a:rPr lang="en-US" altLang="zh-CN" dirty="0"/>
              <a:t>C</a:t>
            </a:r>
            <a:r>
              <a:rPr lang="zh-CN" altLang="en-US" dirty="0"/>
              <a:t>的客户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B43B885-C718-4F33-A340-0DBD972FE816}"/>
              </a:ext>
            </a:extLst>
          </p:cNvPr>
          <p:cNvSpPr txBox="1"/>
          <p:nvPr/>
        </p:nvSpPr>
        <p:spPr>
          <a:xfrm>
            <a:off x="4849505" y="6138333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购买某公司产品的客户</a:t>
            </a:r>
          </a:p>
        </p:txBody>
      </p:sp>
    </p:spTree>
    <p:extLst>
      <p:ext uri="{BB962C8B-B14F-4D97-AF65-F5344CB8AC3E}">
        <p14:creationId xmlns:p14="http://schemas.microsoft.com/office/powerpoint/2010/main" val="3915982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椭圆 4">
            <a:extLst>
              <a:ext uri="{FF2B5EF4-FFF2-40B4-BE49-F238E27FC236}">
                <a16:creationId xmlns:a16="http://schemas.microsoft.com/office/drawing/2014/main" id="{5FFFA6C4-8ADB-4843-BE70-BF738452743D}"/>
              </a:ext>
            </a:extLst>
          </p:cNvPr>
          <p:cNvSpPr/>
          <p:nvPr/>
        </p:nvSpPr>
        <p:spPr>
          <a:xfrm>
            <a:off x="1335145" y="2161472"/>
            <a:ext cx="1563887" cy="1563887"/>
          </a:xfrm>
          <a:prstGeom prst="ellipse">
            <a:avLst/>
          </a:prstGeom>
          <a:solidFill>
            <a:schemeClr val="tx1">
              <a:lumMod val="75000"/>
              <a:lumOff val="25000"/>
              <a:alpha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E0C2554B-FB3C-49D4-97EE-D9B52E8AAAC2}"/>
              </a:ext>
            </a:extLst>
          </p:cNvPr>
          <p:cNvSpPr/>
          <p:nvPr/>
        </p:nvSpPr>
        <p:spPr>
          <a:xfrm>
            <a:off x="2298184" y="2161472"/>
            <a:ext cx="1563887" cy="1563887"/>
          </a:xfrm>
          <a:prstGeom prst="ellipse">
            <a:avLst/>
          </a:prstGeom>
          <a:solidFill>
            <a:schemeClr val="tx1">
              <a:lumMod val="75000"/>
              <a:lumOff val="25000"/>
              <a:alpha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9E61E6FC-A60D-4CAD-8B4E-03C73F016843}"/>
              </a:ext>
            </a:extLst>
          </p:cNvPr>
          <p:cNvSpPr/>
          <p:nvPr/>
        </p:nvSpPr>
        <p:spPr>
          <a:xfrm>
            <a:off x="8614641" y="2709952"/>
            <a:ext cx="466927" cy="46692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3EC4816D-7B15-4617-96FB-8DB43CDB9008}"/>
              </a:ext>
            </a:extLst>
          </p:cNvPr>
          <p:cNvSpPr/>
          <p:nvPr/>
        </p:nvSpPr>
        <p:spPr>
          <a:xfrm>
            <a:off x="9986241" y="1928009"/>
            <a:ext cx="466927" cy="46692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3F36646C-352F-433F-BA30-E6389D0BC43F}"/>
              </a:ext>
            </a:extLst>
          </p:cNvPr>
          <p:cNvSpPr/>
          <p:nvPr/>
        </p:nvSpPr>
        <p:spPr>
          <a:xfrm>
            <a:off x="9986240" y="2718548"/>
            <a:ext cx="466927" cy="46692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892CD6B3-75CF-4BBF-8000-E647C8F6AA67}"/>
              </a:ext>
            </a:extLst>
          </p:cNvPr>
          <p:cNvSpPr/>
          <p:nvPr/>
        </p:nvSpPr>
        <p:spPr>
          <a:xfrm>
            <a:off x="9986239" y="3509088"/>
            <a:ext cx="466927" cy="46692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8A8C1D3C-D8A7-4ADE-A750-11B9C6FE671C}"/>
              </a:ext>
            </a:extLst>
          </p:cNvPr>
          <p:cNvCxnSpPr/>
          <p:nvPr/>
        </p:nvCxnSpPr>
        <p:spPr>
          <a:xfrm>
            <a:off x="9490130" y="2161472"/>
            <a:ext cx="0" cy="15810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81B7CD5-271E-463A-AA4D-BDFCC0C33A2E}"/>
              </a:ext>
            </a:extLst>
          </p:cNvPr>
          <p:cNvCxnSpPr/>
          <p:nvPr/>
        </p:nvCxnSpPr>
        <p:spPr>
          <a:xfrm>
            <a:off x="9490129" y="2161472"/>
            <a:ext cx="49610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02D22E87-0F68-4DC6-9DAB-E8928AD0A166}"/>
              </a:ext>
            </a:extLst>
          </p:cNvPr>
          <p:cNvCxnSpPr>
            <a:cxnSpLocks/>
          </p:cNvCxnSpPr>
          <p:nvPr/>
        </p:nvCxnSpPr>
        <p:spPr>
          <a:xfrm>
            <a:off x="9042658" y="2964004"/>
            <a:ext cx="94358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E15DC62C-D0F7-4BF9-91E6-57DD7026009D}"/>
              </a:ext>
            </a:extLst>
          </p:cNvPr>
          <p:cNvCxnSpPr/>
          <p:nvPr/>
        </p:nvCxnSpPr>
        <p:spPr>
          <a:xfrm>
            <a:off x="9490129" y="3742551"/>
            <a:ext cx="49610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1456868" y="4721151"/>
            <a:ext cx="2236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交集关系：韦恩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E6A4824-96D8-4D3D-AD2C-12875C53C70E}"/>
              </a:ext>
            </a:extLst>
          </p:cNvPr>
          <p:cNvSpPr txBox="1"/>
          <p:nvPr/>
        </p:nvSpPr>
        <p:spPr>
          <a:xfrm>
            <a:off x="8044501" y="4721151"/>
            <a:ext cx="32624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非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真的子集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关系：思维导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8F53E5F2-660C-4AD3-831E-84E8D2E61D3F}"/>
              </a:ext>
            </a:extLst>
          </p:cNvPr>
          <p:cNvSpPr/>
          <p:nvPr/>
        </p:nvSpPr>
        <p:spPr>
          <a:xfrm>
            <a:off x="5294324" y="2190990"/>
            <a:ext cx="1563887" cy="1563887"/>
          </a:xfrm>
          <a:prstGeom prst="ellipse">
            <a:avLst/>
          </a:prstGeom>
          <a:solidFill>
            <a:schemeClr val="tx1">
              <a:lumMod val="75000"/>
              <a:lumOff val="25000"/>
              <a:alpha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EF5A5808-16A1-42EA-B909-801408969CD4}"/>
              </a:ext>
            </a:extLst>
          </p:cNvPr>
          <p:cNvSpPr/>
          <p:nvPr/>
        </p:nvSpPr>
        <p:spPr>
          <a:xfrm>
            <a:off x="5640465" y="2757679"/>
            <a:ext cx="886113" cy="886113"/>
          </a:xfrm>
          <a:prstGeom prst="ellipse">
            <a:avLst/>
          </a:prstGeom>
          <a:solidFill>
            <a:schemeClr val="tx1">
              <a:lumMod val="75000"/>
              <a:lumOff val="25000"/>
              <a:alpha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AE3868CE-EA58-4009-A913-BC933ECD86C9}"/>
              </a:ext>
            </a:extLst>
          </p:cNvPr>
          <p:cNvSpPr txBox="1"/>
          <p:nvPr/>
        </p:nvSpPr>
        <p:spPr>
          <a:xfrm>
            <a:off x="4676691" y="4730082"/>
            <a:ext cx="30059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真子集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关系：堆积韦恩图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1765720" y="2772878"/>
            <a:ext cx="3593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A</a:t>
            </a:r>
            <a:endParaRPr lang="en-US" altLang="zh-CN" sz="20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5903824" y="2279967"/>
            <a:ext cx="3593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A</a:t>
            </a:r>
            <a:endParaRPr lang="en-US" altLang="zh-CN" sz="20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3164445" y="2741010"/>
            <a:ext cx="3738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</a:t>
            </a:r>
            <a:endParaRPr lang="en-US" altLang="zh-CN" sz="20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2255789" y="2757679"/>
            <a:ext cx="6815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A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∩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</a:t>
            </a:r>
            <a:endParaRPr lang="en-US" altLang="zh-CN" sz="16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5597610" y="3035422"/>
            <a:ext cx="9573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=A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∩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</a:t>
            </a:r>
            <a:endParaRPr lang="en-US" altLang="zh-CN" sz="16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8668469" y="2734430"/>
            <a:ext cx="3593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A</a:t>
            </a:r>
            <a:endParaRPr lang="en-US" altLang="zh-CN" sz="20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9993129" y="1995384"/>
            <a:ext cx="463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1</a:t>
            </a:r>
            <a:endParaRPr lang="en-US" altLang="zh-CN" sz="16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9993129" y="2785923"/>
            <a:ext cx="463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2</a:t>
            </a:r>
            <a:endParaRPr lang="en-US" altLang="zh-CN" sz="16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9993129" y="3577664"/>
            <a:ext cx="463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3</a:t>
            </a:r>
            <a:endParaRPr lang="en-US" altLang="zh-CN" sz="1600" dirty="0">
              <a:solidFill>
                <a:schemeClr val="bg1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42D2A42-A8D9-46BB-AFC8-3E6ED565AB04}"/>
              </a:ext>
            </a:extLst>
          </p:cNvPr>
          <p:cNvSpPr txBox="1"/>
          <p:nvPr/>
        </p:nvSpPr>
        <p:spPr>
          <a:xfrm>
            <a:off x="8758471" y="4062573"/>
            <a:ext cx="16946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A=B1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∪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2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∪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B3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7784856" y="6496256"/>
            <a:ext cx="4398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韦恩图也</a:t>
            </a:r>
            <a:r>
              <a:rPr lang="zh-CN" altLang="en-US" sz="1600" dirty="0">
                <a:solidFill>
                  <a:schemeClr val="bg1">
                    <a:lumMod val="5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叫</a:t>
            </a:r>
            <a:r>
              <a:rPr lang="en-US" altLang="zh-CN" sz="1600" dirty="0">
                <a:solidFill>
                  <a:schemeClr val="bg1">
                    <a:lumMod val="5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Venn</a:t>
            </a:r>
            <a:r>
              <a:rPr lang="zh-CN" altLang="en-US" sz="1600" dirty="0">
                <a:solidFill>
                  <a:schemeClr val="bg1">
                    <a:lumMod val="5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图、温氏图、维恩图、范氏</a:t>
            </a:r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图</a:t>
            </a:r>
            <a:endParaRPr lang="zh-CN" altLang="en-US" sz="1600" dirty="0">
              <a:solidFill>
                <a:schemeClr val="bg1">
                  <a:lumMod val="50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8124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4096467" y="1593999"/>
            <a:ext cx="4015843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注意事项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1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使用半透明的、不带角的形状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2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尽量在图中标注而不是使用图例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3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完全穷尽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D815BD7-9A8B-48D7-8988-87DBA580295D}"/>
              </a:ext>
            </a:extLst>
          </p:cNvPr>
          <p:cNvSpPr txBox="1"/>
          <p:nvPr/>
        </p:nvSpPr>
        <p:spPr>
          <a:xfrm>
            <a:off x="4096467" y="4271655"/>
            <a:ext cx="295465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韦恩图的主要元素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半透明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弧形围成交集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  <a:p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718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对象 33" hidden="1">
            <a:extLst>
              <a:ext uri="{FF2B5EF4-FFF2-40B4-BE49-F238E27FC236}">
                <a16:creationId xmlns:a16="http://schemas.microsoft.com/office/drawing/2014/main" id="{817D4C47-1A96-4BA4-A462-C179640736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926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262" imgH="262" progId="TCLayout.ActiveDocument.1">
                  <p:embed/>
                </p:oleObj>
              </mc:Choice>
              <mc:Fallback>
                <p:oleObj name="think-cell Slide" r:id="rId6" imgW="262" imgH="2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0E7AA511-33A3-4122-BF0F-4BABFC9EA6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622" y="368303"/>
            <a:ext cx="5970756" cy="612139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397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椭圆 2">
            <a:extLst>
              <a:ext uri="{FF2B5EF4-FFF2-40B4-BE49-F238E27FC236}">
                <a16:creationId xmlns:a16="http://schemas.microsoft.com/office/drawing/2014/main" id="{CF636D5F-56EC-4CDE-BDAA-0DC4B695CCBC}"/>
              </a:ext>
            </a:extLst>
          </p:cNvPr>
          <p:cNvSpPr/>
          <p:nvPr/>
        </p:nvSpPr>
        <p:spPr>
          <a:xfrm>
            <a:off x="5052064" y="1578768"/>
            <a:ext cx="2351340" cy="2351340"/>
          </a:xfrm>
          <a:prstGeom prst="ellipse">
            <a:avLst/>
          </a:prstGeom>
          <a:solidFill>
            <a:schemeClr val="accent6">
              <a:lumMod val="75000"/>
              <a:alpha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48E096DB-8C5F-4820-8D12-24BD351E88CF}"/>
              </a:ext>
            </a:extLst>
          </p:cNvPr>
          <p:cNvSpPr/>
          <p:nvPr/>
        </p:nvSpPr>
        <p:spPr>
          <a:xfrm>
            <a:off x="4351672" y="2619628"/>
            <a:ext cx="2351340" cy="2351340"/>
          </a:xfrm>
          <a:prstGeom prst="ellipse">
            <a:avLst/>
          </a:prstGeom>
          <a:solidFill>
            <a:srgbClr val="C00000">
              <a:alpha val="35000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E97543A2-E230-4E5D-909A-50EFF4BDC078}"/>
              </a:ext>
            </a:extLst>
          </p:cNvPr>
          <p:cNvSpPr/>
          <p:nvPr/>
        </p:nvSpPr>
        <p:spPr>
          <a:xfrm>
            <a:off x="5715831" y="2619628"/>
            <a:ext cx="2351340" cy="2351340"/>
          </a:xfrm>
          <a:prstGeom prst="ellipse">
            <a:avLst/>
          </a:prstGeom>
          <a:solidFill>
            <a:schemeClr val="accent2">
              <a:lumMod val="75000"/>
              <a:alpha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2BB15E4-E276-40FE-8E50-CE907659FE8B}"/>
              </a:ext>
            </a:extLst>
          </p:cNvPr>
          <p:cNvSpPr txBox="1"/>
          <p:nvPr/>
        </p:nvSpPr>
        <p:spPr>
          <a:xfrm>
            <a:off x="5955864" y="2008895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帅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574DEB2-5409-468F-819B-8A68412A6FE6}"/>
              </a:ext>
            </a:extLst>
          </p:cNvPr>
          <p:cNvSpPr txBox="1"/>
          <p:nvPr/>
        </p:nvSpPr>
        <p:spPr>
          <a:xfrm>
            <a:off x="4921994" y="3795298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富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E4CDACB-2218-4174-AEC9-D5B73F178BDF}"/>
              </a:ext>
            </a:extLst>
          </p:cNvPr>
          <p:cNvSpPr txBox="1"/>
          <p:nvPr/>
        </p:nvSpPr>
        <p:spPr>
          <a:xfrm>
            <a:off x="7001464" y="3763592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FCAFBA1-DE4A-4816-B18F-DE5CC497FE22}"/>
              </a:ext>
            </a:extLst>
          </p:cNvPr>
          <p:cNvSpPr txBox="1"/>
          <p:nvPr/>
        </p:nvSpPr>
        <p:spPr>
          <a:xfrm>
            <a:off x="5255472" y="2786392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矬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D6EA3C9-6157-4896-B2E6-6C70F8A1691D}"/>
              </a:ext>
            </a:extLst>
          </p:cNvPr>
          <p:cNvSpPr txBox="1"/>
          <p:nvPr/>
        </p:nvSpPr>
        <p:spPr>
          <a:xfrm>
            <a:off x="6634550" y="2786392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穷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A761390-4F41-48CD-A745-029CF47F409C}"/>
              </a:ext>
            </a:extLst>
          </p:cNvPr>
          <p:cNvSpPr txBox="1"/>
          <p:nvPr/>
        </p:nvSpPr>
        <p:spPr>
          <a:xfrm>
            <a:off x="5955863" y="4004406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丑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D43C596-1ACF-41A7-9A15-18B36A59D584}"/>
              </a:ext>
            </a:extLst>
          </p:cNvPr>
          <p:cNvSpPr txBox="1"/>
          <p:nvPr/>
        </p:nvSpPr>
        <p:spPr>
          <a:xfrm>
            <a:off x="5972725" y="3233434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基</a:t>
            </a:r>
          </a:p>
        </p:txBody>
      </p:sp>
    </p:spTree>
    <p:extLst>
      <p:ext uri="{BB962C8B-B14F-4D97-AF65-F5344CB8AC3E}">
        <p14:creationId xmlns:p14="http://schemas.microsoft.com/office/powerpoint/2010/main" val="265370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490" y="0"/>
            <a:ext cx="78110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099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DEA7FEEB-68A0-4F20-9B8E-207C036E89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171" y="0"/>
            <a:ext cx="69596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531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EDBDA19F-3E3A-46FD-98F0-251367580C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523" y="1345223"/>
            <a:ext cx="5662245" cy="4246684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5D5D3F4B-3ABE-4F85-9291-ACDABB030D45}"/>
              </a:ext>
            </a:extLst>
          </p:cNvPr>
          <p:cNvSpPr/>
          <p:nvPr/>
        </p:nvSpPr>
        <p:spPr>
          <a:xfrm>
            <a:off x="505838" y="466928"/>
            <a:ext cx="2801566" cy="535021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集合关系不明确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667"/>
          <a:stretch/>
        </p:blipFill>
        <p:spPr>
          <a:xfrm>
            <a:off x="6067934" y="1332034"/>
            <a:ext cx="5845709" cy="425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81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7E1E155-52C6-46BE-BC18-ACC131833C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930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A7E1E155-52C6-46BE-BC18-ACC131833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矩形 77">
            <a:extLst>
              <a:ext uri="{FF2B5EF4-FFF2-40B4-BE49-F238E27FC236}">
                <a16:creationId xmlns:a16="http://schemas.microsoft.com/office/drawing/2014/main" id="{4AE33109-E345-4AF3-9A9F-8BB27DC1DAA3}"/>
              </a:ext>
            </a:extLst>
          </p:cNvPr>
          <p:cNvSpPr/>
          <p:nvPr/>
        </p:nvSpPr>
        <p:spPr>
          <a:xfrm>
            <a:off x="515566" y="569379"/>
            <a:ext cx="2716042" cy="707886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集合关系不明确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0" y="449385"/>
            <a:ext cx="8890000" cy="622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080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09</TotalTime>
  <Words>157</Words>
  <Application>Microsoft Office PowerPoint</Application>
  <PresentationFormat>宽屏</PresentationFormat>
  <Paragraphs>48</Paragraphs>
  <Slides>1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5" baseType="lpstr">
      <vt:lpstr>等线</vt:lpstr>
      <vt:lpstr>等线 Light</vt:lpstr>
      <vt:lpstr>华文中宋</vt:lpstr>
      <vt:lpstr>思源黑体 CN Medium</vt:lpstr>
      <vt:lpstr>思源黑体 CN Normal</vt:lpstr>
      <vt:lpstr>宋体</vt:lpstr>
      <vt:lpstr>Arial</vt:lpstr>
      <vt:lpstr>Calibri</vt:lpstr>
      <vt:lpstr>Calibri Light</vt:lpstr>
      <vt:lpstr>Office 主题​​</vt:lpstr>
      <vt:lpstr>2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 Notag</dc:creator>
  <cp:lastModifiedBy>Administrator</cp:lastModifiedBy>
  <cp:revision>134</cp:revision>
  <dcterms:created xsi:type="dcterms:W3CDTF">2018-08-23T10:08:30Z</dcterms:created>
  <dcterms:modified xsi:type="dcterms:W3CDTF">2018-11-11T17:52:07Z</dcterms:modified>
</cp:coreProperties>
</file>